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5704478" r:id="rId2"/>
    <p:sldId id="2145704480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5314DA-7092-431F-8181-E6865D475951}" v="15" dt="2025-03-28T10:34:08.341"/>
    <p1510:client id="{BB6577B5-B756-4A95-C7EE-7CD5C3CB9594}" v="13" dt="2025-03-28T09:05:26.8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94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4600774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08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50387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31540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19880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34361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4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98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64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9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99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036395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036395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036395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0" name="Title Placeholder 1"/>
          <p:cNvSpPr txBox="1">
            <a:spLocks/>
          </p:cNvSpPr>
          <p:nvPr userDrawn="1"/>
        </p:nvSpPr>
        <p:spPr bwMode="gray">
          <a:xfrm>
            <a:off x="7132146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132146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7132146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2304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132146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132146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713214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0" name="Title Placeholder 1"/>
          <p:cNvSpPr txBox="1">
            <a:spLocks/>
          </p:cNvSpPr>
          <p:nvPr userDrawn="1"/>
        </p:nvSpPr>
        <p:spPr bwMode="gray">
          <a:xfrm>
            <a:off x="1044303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044303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4303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517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1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374857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4356621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4885153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51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6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431693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91231" y="338971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0653" y="947013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90653" y="1475544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2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972313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463501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952180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5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77333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3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10838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6223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62035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70986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86880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750376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09203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9619889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857936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67649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032626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097220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465025" y="212237"/>
            <a:ext cx="3642893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465024" y="826015"/>
            <a:ext cx="3443341" cy="1856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3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094781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062155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062155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159375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4629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4687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39650" cy="3728417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0572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1455462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72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401198" y="3426309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790802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9790802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0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3691288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83653" y="212237"/>
            <a:ext cx="2715981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368944" y="820279"/>
            <a:ext cx="3145399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  <p:sp>
        <p:nvSpPr>
          <p:cNvPr id="1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368945" y="1357992"/>
            <a:ext cx="3145398" cy="372841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2259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93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3442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19379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1995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52024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4653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9659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97175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746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1126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748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88063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88349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56761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78372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78949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7923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2661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4616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4678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47070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93551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8244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84508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11567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455462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05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50329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4776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0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54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31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0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26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02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88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6095751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96249" y="1"/>
            <a:ext cx="6095751" cy="3157417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0503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2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57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231" y="-1"/>
            <a:ext cx="4063539" cy="342842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064922" y="3428426"/>
            <a:ext cx="4063539" cy="3428427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511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35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08262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07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112617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258718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063040" y="4159099"/>
            <a:ext cx="4065920" cy="15519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197413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37812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11647" y="974354"/>
            <a:ext cx="6118748" cy="588364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665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9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852074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753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55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9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0" imgW="6350000" imgH="6350000" progId="">
                  <p:embed/>
                </p:oleObj>
              </mc:Choice>
              <mc:Fallback>
                <p:oleObj name="think-cell Slide" r:id="rId6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38557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3446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vimeo.com/1039594240?tq=center#t=1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[video-to-gif output image]">
            <a:extLst>
              <a:ext uri="{FF2B5EF4-FFF2-40B4-BE49-F238E27FC236}">
                <a16:creationId xmlns:a16="http://schemas.microsoft.com/office/drawing/2014/main" id="{60DCA231-CE37-EDB1-9D17-20F6656FDF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" t="2304" r="2345" b="218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BDCFF8E-9183-6994-630D-636C05BA0B7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D38A3D-755D-569D-3AA3-F0676FDC0A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34932" y="2567190"/>
            <a:ext cx="7522135" cy="1249026"/>
          </a:xfrm>
        </p:spPr>
        <p:txBody>
          <a:bodyPr/>
          <a:lstStyle/>
          <a:p>
            <a:r>
              <a:rPr lang="en-GB"/>
              <a:t>CENTER PAR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347B62-703F-8A25-EC64-65426DE87E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FAMILY SPONSORSHIP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1DD14B-DE6E-CB6B-9F87-2748DE9819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124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716315A-6E4B-9977-4D84-014C149044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5918"/>
          <a:stretch/>
        </p:blipFill>
        <p:spPr>
          <a:xfrm>
            <a:off x="794158" y="0"/>
            <a:ext cx="1147042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327D63-2CCF-BDB0-5B6F-D9C9B3D5B561}"/>
              </a:ext>
            </a:extLst>
          </p:cNvPr>
          <p:cNvSpPr/>
          <p:nvPr/>
        </p:nvSpPr>
        <p:spPr>
          <a:xfrm>
            <a:off x="75465" y="0"/>
            <a:ext cx="7700791" cy="6858000"/>
          </a:xfrm>
          <a:prstGeom prst="rect">
            <a:avLst/>
          </a:prstGeom>
          <a:gradFill flip="none" rotWithShape="1">
            <a:gsLst>
              <a:gs pos="40000">
                <a:schemeClr val="bg1"/>
              </a:gs>
              <a:gs pos="54000">
                <a:schemeClr val="bg1">
                  <a:alpha val="68000"/>
                </a:schemeClr>
              </a:gs>
              <a:gs pos="77000">
                <a:schemeClr val="bg1">
                  <a:alpha val="39720"/>
                </a:schemeClr>
              </a:gs>
              <a:gs pos="100000">
                <a:schemeClr val="bg1">
                  <a:lumMod val="75000"/>
                  <a:lumOff val="2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940813-BCE9-E71C-4AE6-FAF1AA7B9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ENTER PAR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2492C-A52C-C748-0DC3-2CFD53F355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6283" y="814285"/>
            <a:ext cx="5450534" cy="202014"/>
          </a:xfrm>
        </p:spPr>
        <p:txBody>
          <a:bodyPr/>
          <a:lstStyle/>
          <a:p>
            <a:r>
              <a:rPr lang="en-GB"/>
              <a:t>Family Sponsorship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CCC0E11-3F9B-8D77-1601-7D20014747E1}"/>
              </a:ext>
            </a:extLst>
          </p:cNvPr>
          <p:cNvSpPr txBox="1">
            <a:spLocks/>
          </p:cNvSpPr>
          <p:nvPr/>
        </p:nvSpPr>
        <p:spPr>
          <a:xfrm>
            <a:off x="211648" y="1127528"/>
            <a:ext cx="5629680" cy="468866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872296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88" b="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872296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88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872296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88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872296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88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872296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88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398818" indent="-218075" algn="l" defTabSz="872296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4967" indent="-218075" algn="l" defTabSz="872296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1116" indent="-218075" algn="l" defTabSz="872296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7264" indent="-218075" algn="l" defTabSz="872296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7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Background</a:t>
            </a:r>
          </a:p>
          <a:p>
            <a:endParaRPr lang="en-US" dirty="0"/>
          </a:p>
          <a:p>
            <a:r>
              <a:rPr lang="en-US" dirty="0"/>
              <a:t>Center Parcs were looking to establish a cinema presence and </a:t>
            </a:r>
            <a:r>
              <a:rPr lang="en-US" dirty="0" err="1"/>
              <a:t>localise</a:t>
            </a:r>
            <a:r>
              <a:rPr lang="en-US" dirty="0"/>
              <a:t> their advertising on screen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Idea</a:t>
            </a:r>
          </a:p>
          <a:p>
            <a:endParaRPr lang="en-GB" dirty="0"/>
          </a:p>
          <a:p>
            <a:r>
              <a:rPr lang="en-GB" sz="1050" dirty="0"/>
              <a:t>A trip to the cinema is more than just watching a film…it’s an opportunity for families to spend quality time together, escape the routine of everyday life, and immerse themselves in shared experiences.</a:t>
            </a:r>
          </a:p>
          <a:p>
            <a:endParaRPr lang="en-GB" sz="1050" dirty="0"/>
          </a:p>
          <a:p>
            <a:r>
              <a:rPr lang="en-GB" sz="1050" dirty="0"/>
              <a:t>Recognising the power of this cinema experience, the </a:t>
            </a:r>
            <a:r>
              <a:rPr lang="en-GB" sz="1050" dirty="0" err="1"/>
              <a:t>Center</a:t>
            </a:r>
            <a:r>
              <a:rPr lang="en-GB" sz="1050" dirty="0"/>
              <a:t> Parcs family sponsorship with DCM Studios engaged their core audience in a meaningful way, aligning their brand with the joy and togetherness that cinema outings inspire.</a:t>
            </a:r>
            <a:endParaRPr lang="en-GB" sz="1050" dirty="0">
              <a:cs typeface="Arial"/>
            </a:endParaRPr>
          </a:p>
          <a:p>
            <a:endParaRPr lang="en-GB" sz="1050" dirty="0"/>
          </a:p>
          <a:p>
            <a:r>
              <a:rPr lang="en-GB" sz="1050" dirty="0"/>
              <a:t>To bring this vision to life, DCM Studios created bespoke idents featuring co-branded and localised end-frames. These executions seamlessly integrated the </a:t>
            </a:r>
            <a:r>
              <a:rPr lang="en-GB" sz="1050" dirty="0" err="1"/>
              <a:t>Center</a:t>
            </a:r>
            <a:r>
              <a:rPr lang="en-GB" sz="1050" dirty="0"/>
              <a:t> Parcs messaging with the cinema experience, reinforcing the brand’s commitment to family bonding and relaxation. Through tailored storytelling and the visually engaging content, the idents resonated with audiences on a personal level, strengthening the connection between the brand and its family-focused values.</a:t>
            </a:r>
          </a:p>
          <a:p>
            <a:endParaRPr lang="en-GB" sz="1050" dirty="0"/>
          </a:p>
          <a:p>
            <a:r>
              <a:rPr lang="en-GB" sz="1050" dirty="0"/>
              <a:t>A key feature of these idents was the use of localised end-frames, which highlighted the nearest </a:t>
            </a:r>
            <a:r>
              <a:rPr lang="en-GB" sz="1050" dirty="0" err="1"/>
              <a:t>Center</a:t>
            </a:r>
            <a:r>
              <a:rPr lang="en-GB" sz="1050" dirty="0"/>
              <a:t> Parcs location to each cinema where the ad was shown. This approach added a personal touch, making the messaging feel more relevant and immediate to the audience, encouraging them to envision their own family getaway at a destination within easy reach. </a:t>
            </a:r>
          </a:p>
          <a:p>
            <a:r>
              <a:rPr lang="en-GB" sz="1050" dirty="0"/>
              <a:t>Localised end-frames enhance engagement by making the advertising feel tailored to the brand. </a:t>
            </a:r>
            <a:endParaRPr lang="en-US" dirty="0"/>
          </a:p>
          <a:p>
            <a:r>
              <a:rPr lang="en-GB" b="1" dirty="0">
                <a:solidFill>
                  <a:srgbClr val="C0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gt;Click to Watch&lt;</a:t>
            </a:r>
            <a:endParaRPr lang="en-US" b="1" dirty="0">
              <a:solidFill>
                <a:srgbClr val="C00000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E481800-1A99-49B0-477D-D05F55AC50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312047"/>
              </p:ext>
            </p:extLst>
          </p:nvPr>
        </p:nvGraphicFramePr>
        <p:xfrm>
          <a:off x="5841327" y="5257174"/>
          <a:ext cx="6286500" cy="13406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26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1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0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0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628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Sector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Leisure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Media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err="1">
                          <a:solidFill>
                            <a:srgbClr val="FFFFFF"/>
                          </a:solidFill>
                        </a:rPr>
                        <a:t>Dentsu</a:t>
                      </a:r>
                      <a:endParaRPr lang="en-US" sz="1100" b="0">
                        <a:solidFill>
                          <a:srgbClr val="FFFFFF"/>
                        </a:solidFill>
                      </a:endParaRP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Target Audienc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Family 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Creative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DCM Studio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Packag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i="0" baseline="0">
                          <a:solidFill>
                            <a:srgbClr val="FFFFFF"/>
                          </a:solidFill>
                        </a:rPr>
                        <a:t>Family Sponsorship + Ident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Duration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1 Year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050" name="Picture 2" descr="Center Parcs, Woburn, Befordshire - All Pump Solutions : All Pump Solutions">
            <a:extLst>
              <a:ext uri="{FF2B5EF4-FFF2-40B4-BE49-F238E27FC236}">
                <a16:creationId xmlns:a16="http://schemas.microsoft.com/office/drawing/2014/main" id="{6E10F50D-7B27-39FC-2185-8C8F35F87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823" y="212237"/>
            <a:ext cx="1271894" cy="99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E90C83F-AE1C-6E2B-3AAE-0137218D3F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58575DD-22C5-B735-EFFA-CA066304C642}"/>
              </a:ext>
            </a:extLst>
          </p:cNvPr>
          <p:cNvCxnSpPr>
            <a:cxnSpLocks/>
          </p:cNvCxnSpPr>
          <p:nvPr/>
        </p:nvCxnSpPr>
        <p:spPr>
          <a:xfrm>
            <a:off x="0" y="647984"/>
            <a:ext cx="3189249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903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276</Words>
  <Application>Microsoft Office PowerPoint</Application>
  <PresentationFormat>Widescreen</PresentationFormat>
  <Paragraphs>3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Impact</vt:lpstr>
      <vt:lpstr>Wingdings</vt:lpstr>
      <vt:lpstr>COPY SLIDES</vt:lpstr>
      <vt:lpstr>think-cell Slide</vt:lpstr>
      <vt:lpstr>PowerPoint Presentation</vt:lpstr>
      <vt:lpstr>CENTER PAR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elia Radford</dc:creator>
  <cp:lastModifiedBy>Mia Blakeney</cp:lastModifiedBy>
  <cp:revision>8</cp:revision>
  <dcterms:created xsi:type="dcterms:W3CDTF">2025-03-11T11:16:12Z</dcterms:created>
  <dcterms:modified xsi:type="dcterms:W3CDTF">2025-04-02T11:37:36Z</dcterms:modified>
</cp:coreProperties>
</file>